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-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, ASHWIN" userId="e7245a67-72a1-4c09-8683-cc1a3f8948eb" providerId="ADAL" clId="{BACAF318-F6CC-4D87-85C8-F045C936B864}"/>
    <pc:docChg chg="undo custSel modSld">
      <pc:chgData name="C, ASHWIN" userId="e7245a67-72a1-4c09-8683-cc1a3f8948eb" providerId="ADAL" clId="{BACAF318-F6CC-4D87-85C8-F045C936B864}" dt="2024-04-16T14:57:17.964" v="224" actId="20577"/>
      <pc:docMkLst>
        <pc:docMk/>
      </pc:docMkLst>
      <pc:sldChg chg="modSp mod">
        <pc:chgData name="C, ASHWIN" userId="e7245a67-72a1-4c09-8683-cc1a3f8948eb" providerId="ADAL" clId="{BACAF318-F6CC-4D87-85C8-F045C936B864}" dt="2024-04-16T14:57:17.964" v="224" actId="20577"/>
        <pc:sldMkLst>
          <pc:docMk/>
          <pc:sldMk cId="0" sldId="257"/>
        </pc:sldMkLst>
        <pc:spChg chg="mod">
          <ac:chgData name="C, ASHWIN" userId="e7245a67-72a1-4c09-8683-cc1a3f8948eb" providerId="ADAL" clId="{BACAF318-F6CC-4D87-85C8-F045C936B864}" dt="2024-04-16T14:57:04.292" v="223" actId="20577"/>
          <ac:spMkLst>
            <pc:docMk/>
            <pc:sldMk cId="0" sldId="257"/>
            <ac:spMk id="6" creationId="{00000000-0000-0000-0000-000000000000}"/>
          </ac:spMkLst>
        </pc:spChg>
        <pc:spChg chg="mod">
          <ac:chgData name="C, ASHWIN" userId="e7245a67-72a1-4c09-8683-cc1a3f8948eb" providerId="ADAL" clId="{BACAF318-F6CC-4D87-85C8-F045C936B864}" dt="2024-04-16T14:53:24.004" v="167" actId="20577"/>
          <ac:spMkLst>
            <pc:docMk/>
            <pc:sldMk cId="0" sldId="257"/>
            <ac:spMk id="7" creationId="{00000000-0000-0000-0000-000000000000}"/>
          </ac:spMkLst>
        </pc:spChg>
        <pc:spChg chg="mod">
          <ac:chgData name="C, ASHWIN" userId="e7245a67-72a1-4c09-8683-cc1a3f8948eb" providerId="ADAL" clId="{BACAF318-F6CC-4D87-85C8-F045C936B864}" dt="2024-04-16T14:57:17.964" v="224" actId="20577"/>
          <ac:spMkLst>
            <pc:docMk/>
            <pc:sldMk cId="0" sldId="257"/>
            <ac:spMk id="10" creationId="{00000000-0000-0000-0000-000000000000}"/>
          </ac:spMkLst>
        </pc:spChg>
      </pc:sldChg>
    </pc:docChg>
  </pc:docChgLst>
  <pc:docChgLst>
    <pc:chgData name="C, ASHWIN" userId="e7245a67-72a1-4c09-8683-cc1a3f8948eb" providerId="ADAL" clId="{C507EEF3-E433-4BAD-B713-8B88F5531BC9}"/>
    <pc:docChg chg="undo custSel modSld">
      <pc:chgData name="C, ASHWIN" userId="e7245a67-72a1-4c09-8683-cc1a3f8948eb" providerId="ADAL" clId="{C507EEF3-E433-4BAD-B713-8B88F5531BC9}" dt="2023-10-27T04:58:49.853" v="2209" actId="20577"/>
      <pc:docMkLst>
        <pc:docMk/>
      </pc:docMkLst>
      <pc:sldChg chg="addSp delSp modSp mod">
        <pc:chgData name="C, ASHWIN" userId="e7245a67-72a1-4c09-8683-cc1a3f8948eb" providerId="ADAL" clId="{C507EEF3-E433-4BAD-B713-8B88F5531BC9}" dt="2023-10-27T04:58:49.853" v="2209" actId="20577"/>
        <pc:sldMkLst>
          <pc:docMk/>
          <pc:sldMk cId="0" sldId="257"/>
        </pc:sldMkLst>
        <pc:spChg chg="mod">
          <ac:chgData name="C, ASHWIN" userId="e7245a67-72a1-4c09-8683-cc1a3f8948eb" providerId="ADAL" clId="{C507EEF3-E433-4BAD-B713-8B88F5531BC9}" dt="2023-10-27T03:36:57.676" v="61" actId="20577"/>
          <ac:spMkLst>
            <pc:docMk/>
            <pc:sldMk cId="0" sldId="257"/>
            <ac:spMk id="4" creationId="{00000000-0000-0000-0000-000000000000}"/>
          </ac:spMkLst>
        </pc:spChg>
        <pc:spChg chg="mod">
          <ac:chgData name="C, ASHWIN" userId="e7245a67-72a1-4c09-8683-cc1a3f8948eb" providerId="ADAL" clId="{C507EEF3-E433-4BAD-B713-8B88F5531BC9}" dt="2023-10-27T03:46:39.109" v="420" actId="20577"/>
          <ac:spMkLst>
            <pc:docMk/>
            <pc:sldMk cId="0" sldId="257"/>
            <ac:spMk id="6" creationId="{00000000-0000-0000-0000-000000000000}"/>
          </ac:spMkLst>
        </pc:spChg>
        <pc:spChg chg="mod">
          <ac:chgData name="C, ASHWIN" userId="e7245a67-72a1-4c09-8683-cc1a3f8948eb" providerId="ADAL" clId="{C507EEF3-E433-4BAD-B713-8B88F5531BC9}" dt="2023-10-27T04:58:49.853" v="2209" actId="20577"/>
          <ac:spMkLst>
            <pc:docMk/>
            <pc:sldMk cId="0" sldId="257"/>
            <ac:spMk id="7" creationId="{00000000-0000-0000-0000-000000000000}"/>
          </ac:spMkLst>
        </pc:spChg>
        <pc:spChg chg="add del mod">
          <ac:chgData name="C, ASHWIN" userId="e7245a67-72a1-4c09-8683-cc1a3f8948eb" providerId="ADAL" clId="{C507EEF3-E433-4BAD-B713-8B88F5531BC9}" dt="2023-10-27T04:14:10.479" v="1241" actId="20577"/>
          <ac:spMkLst>
            <pc:docMk/>
            <pc:sldMk cId="0" sldId="257"/>
            <ac:spMk id="8" creationId="{00000000-0000-0000-0000-000000000000}"/>
          </ac:spMkLst>
        </pc:spChg>
        <pc:spChg chg="mod">
          <ac:chgData name="C, ASHWIN" userId="e7245a67-72a1-4c09-8683-cc1a3f8948eb" providerId="ADAL" clId="{C507EEF3-E433-4BAD-B713-8B88F5531BC9}" dt="2023-10-27T04:56:55.078" v="2193" actId="20577"/>
          <ac:spMkLst>
            <pc:docMk/>
            <pc:sldMk cId="0" sldId="257"/>
            <ac:spMk id="10" creationId="{00000000-0000-0000-0000-000000000000}"/>
          </ac:spMkLst>
        </pc:spChg>
        <pc:spChg chg="mod">
          <ac:chgData name="C, ASHWIN" userId="e7245a67-72a1-4c09-8683-cc1a3f8948eb" providerId="ADAL" clId="{C507EEF3-E433-4BAD-B713-8B88F5531BC9}" dt="2023-10-27T03:36:38.134" v="29" actId="20577"/>
          <ac:spMkLst>
            <pc:docMk/>
            <pc:sldMk cId="0" sldId="257"/>
            <ac:spMk id="32770" creationId="{00000000-0000-0000-0000-000000000000}"/>
          </ac:spMkLst>
        </pc:spChg>
        <pc:picChg chg="del">
          <ac:chgData name="C, ASHWIN" userId="e7245a67-72a1-4c09-8683-cc1a3f8948eb" providerId="ADAL" clId="{C507EEF3-E433-4BAD-B713-8B88F5531BC9}" dt="2023-10-27T03:47:04.450" v="421" actId="478"/>
          <ac:picMkLst>
            <pc:docMk/>
            <pc:sldMk cId="0" sldId="257"/>
            <ac:picMk id="2" creationId="{C78E4344-E0FC-CB7E-AA7E-49CCA5C4FD35}"/>
          </ac:picMkLst>
        </pc:picChg>
        <pc:picChg chg="add mod">
          <ac:chgData name="C, ASHWIN" userId="e7245a67-72a1-4c09-8683-cc1a3f8948eb" providerId="ADAL" clId="{C507EEF3-E433-4BAD-B713-8B88F5531BC9}" dt="2023-10-27T03:47:48.219" v="433" actId="14100"/>
          <ac:picMkLst>
            <pc:docMk/>
            <pc:sldMk cId="0" sldId="257"/>
            <ac:picMk id="9" creationId="{81285EF8-BA9A-062A-C48A-88C9ED384257}"/>
          </ac:picMkLst>
        </pc:picChg>
      </pc:sldChg>
    </pc:docChg>
  </pc:docChgLst>
  <pc:docChgLst>
    <pc:chgData name="Sonawane, Adesh" userId="b3ae5091-419d-48ad-88d1-00439689dbe0" providerId="ADAL" clId="{4DEA80D7-A8FA-4C9F-8EC0-A2F7874DE870}"/>
    <pc:docChg chg="custSel modSld">
      <pc:chgData name="Sonawane, Adesh" userId="b3ae5091-419d-48ad-88d1-00439689dbe0" providerId="ADAL" clId="{4DEA80D7-A8FA-4C9F-8EC0-A2F7874DE870}" dt="2023-08-10T14:03:20.616" v="32" actId="20577"/>
      <pc:docMkLst>
        <pc:docMk/>
      </pc:docMkLst>
      <pc:sldChg chg="modSp mod">
        <pc:chgData name="Sonawane, Adesh" userId="b3ae5091-419d-48ad-88d1-00439689dbe0" providerId="ADAL" clId="{4DEA80D7-A8FA-4C9F-8EC0-A2F7874DE870}" dt="2023-08-10T14:03:20.616" v="32" actId="20577"/>
        <pc:sldMkLst>
          <pc:docMk/>
          <pc:sldMk cId="0" sldId="257"/>
        </pc:sldMkLst>
        <pc:spChg chg="mod">
          <ac:chgData name="Sonawane, Adesh" userId="b3ae5091-419d-48ad-88d1-00439689dbe0" providerId="ADAL" clId="{4DEA80D7-A8FA-4C9F-8EC0-A2F7874DE870}" dt="2023-08-10T14:01:26.216" v="0" actId="1076"/>
          <ac:spMkLst>
            <pc:docMk/>
            <pc:sldMk cId="0" sldId="257"/>
            <ac:spMk id="4" creationId="{00000000-0000-0000-0000-000000000000}"/>
          </ac:spMkLst>
        </pc:spChg>
        <pc:spChg chg="mod">
          <ac:chgData name="Sonawane, Adesh" userId="b3ae5091-419d-48ad-88d1-00439689dbe0" providerId="ADAL" clId="{4DEA80D7-A8FA-4C9F-8EC0-A2F7874DE870}" dt="2023-08-10T14:03:20.616" v="32" actId="20577"/>
          <ac:spMkLst>
            <pc:docMk/>
            <pc:sldMk cId="0" sldId="257"/>
            <ac:spMk id="7" creationId="{00000000-0000-0000-0000-000000000000}"/>
          </ac:spMkLst>
        </pc:spChg>
        <pc:picChg chg="mod">
          <ac:chgData name="Sonawane, Adesh" userId="b3ae5091-419d-48ad-88d1-00439689dbe0" providerId="ADAL" clId="{4DEA80D7-A8FA-4C9F-8EC0-A2F7874DE870}" dt="2023-08-10T14:02:01.449" v="3" actId="1076"/>
          <ac:picMkLst>
            <pc:docMk/>
            <pc:sldMk cId="0" sldId="257"/>
            <ac:picMk id="2" creationId="{C78E4344-E0FC-CB7E-AA7E-49CCA5C4FD35}"/>
          </ac:picMkLst>
        </pc:picChg>
      </pc:sldChg>
    </pc:docChg>
  </pc:docChgLst>
  <pc:docChgLst>
    <pc:chgData name="C, ASHWIN" userId="e7245a67-72a1-4c09-8683-cc1a3f8948eb" providerId="ADAL" clId="{D432D039-11B1-4D48-8550-8075CD7BD420}"/>
    <pc:docChg chg="custSel modSld">
      <pc:chgData name="C, ASHWIN" userId="e7245a67-72a1-4c09-8683-cc1a3f8948eb" providerId="ADAL" clId="{D432D039-11B1-4D48-8550-8075CD7BD420}" dt="2024-02-13T06:41:08.122" v="174" actId="20577"/>
      <pc:docMkLst>
        <pc:docMk/>
      </pc:docMkLst>
      <pc:sldChg chg="modSp mod">
        <pc:chgData name="C, ASHWIN" userId="e7245a67-72a1-4c09-8683-cc1a3f8948eb" providerId="ADAL" clId="{D432D039-11B1-4D48-8550-8075CD7BD420}" dt="2024-02-13T06:41:08.122" v="174" actId="20577"/>
        <pc:sldMkLst>
          <pc:docMk/>
          <pc:sldMk cId="0" sldId="257"/>
        </pc:sldMkLst>
        <pc:spChg chg="mod">
          <ac:chgData name="C, ASHWIN" userId="e7245a67-72a1-4c09-8683-cc1a3f8948eb" providerId="ADAL" clId="{D432D039-11B1-4D48-8550-8075CD7BD420}" dt="2024-02-13T06:06:31.004" v="56" actId="20577"/>
          <ac:spMkLst>
            <pc:docMk/>
            <pc:sldMk cId="0" sldId="257"/>
            <ac:spMk id="4" creationId="{00000000-0000-0000-0000-000000000000}"/>
          </ac:spMkLst>
        </pc:spChg>
        <pc:spChg chg="mod">
          <ac:chgData name="C, ASHWIN" userId="e7245a67-72a1-4c09-8683-cc1a3f8948eb" providerId="ADAL" clId="{D432D039-11B1-4D48-8550-8075CD7BD420}" dt="2024-02-13T06:12:40.926" v="172" actId="20577"/>
          <ac:spMkLst>
            <pc:docMk/>
            <pc:sldMk cId="0" sldId="257"/>
            <ac:spMk id="6" creationId="{00000000-0000-0000-0000-000000000000}"/>
          </ac:spMkLst>
        </pc:spChg>
        <pc:spChg chg="mod">
          <ac:chgData name="C, ASHWIN" userId="e7245a67-72a1-4c09-8683-cc1a3f8948eb" providerId="ADAL" clId="{D432D039-11B1-4D48-8550-8075CD7BD420}" dt="2024-02-13T06:41:08.122" v="174" actId="20577"/>
          <ac:spMkLst>
            <pc:docMk/>
            <pc:sldMk cId="0" sldId="257"/>
            <ac:spMk id="7" creationId="{00000000-0000-0000-0000-000000000000}"/>
          </ac:spMkLst>
        </pc:spChg>
        <pc:spChg chg="mod">
          <ac:chgData name="C, ASHWIN" userId="e7245a67-72a1-4c09-8683-cc1a3f8948eb" providerId="ADAL" clId="{D432D039-11B1-4D48-8550-8075CD7BD420}" dt="2024-02-13T06:11:18.493" v="133" actId="20577"/>
          <ac:spMkLst>
            <pc:docMk/>
            <pc:sldMk cId="0" sldId="257"/>
            <ac:spMk id="10" creationId="{00000000-0000-0000-0000-000000000000}"/>
          </ac:spMkLst>
        </pc:spChg>
        <pc:spChg chg="mod">
          <ac:chgData name="C, ASHWIN" userId="e7245a67-72a1-4c09-8683-cc1a3f8948eb" providerId="ADAL" clId="{D432D039-11B1-4D48-8550-8075CD7BD420}" dt="2024-02-13T06:08:10.251" v="73" actId="1076"/>
          <ac:spMkLst>
            <pc:docMk/>
            <pc:sldMk cId="0" sldId="257"/>
            <ac:spMk id="11" creationId="{20E59CCF-0537-4218-94CF-36EBC446535E}"/>
          </ac:spMkLst>
        </pc:spChg>
        <pc:spChg chg="mod">
          <ac:chgData name="C, ASHWIN" userId="e7245a67-72a1-4c09-8683-cc1a3f8948eb" providerId="ADAL" clId="{D432D039-11B1-4D48-8550-8075CD7BD420}" dt="2024-02-13T06:04:22.297" v="10" actId="20577"/>
          <ac:spMkLst>
            <pc:docMk/>
            <pc:sldMk cId="0" sldId="257"/>
            <ac:spMk id="32770" creationId="{00000000-0000-0000-0000-000000000000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80A636-FBFB-868F-27B8-ED920C6F86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F3BD6-0A5D-8155-781F-070F23B750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07C829-37A6-78E7-40DE-8297BCCFF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15555-22FB-C2EE-329D-17115ED231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156501-53DC-9A86-E213-4CED50AE6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99871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12082D-33A8-9FDD-AB33-F043F89BA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68EA4F-47DF-F882-E057-6DF88E929E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32EBB5-F913-3D25-279F-F4CD2205A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70FA26-C083-3832-F833-726DD1283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E44122-550E-421D-3E89-D25F7470F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88323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F2D6DB-5689-40E0-96D7-D84E1F9C956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69195D-680A-19CC-1C19-75EBF21704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0C3005-FB46-869D-5BEA-50EA2CCB7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D53E4-3B7E-3042-275E-B494C71E06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88439C-46B8-159D-13CE-9D8BA57D9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360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11787935" y="6661264"/>
            <a:ext cx="110608" cy="107722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fld id="{1350D5BE-1927-F740-AE72-C1CE53F00324}" type="slidenum">
              <a:rPr lang="en-US" sz="700">
                <a:solidFill>
                  <a:schemeClr val="tx2"/>
                </a:solidFill>
              </a:rPr>
              <a:pPr algn="ctr"/>
              <a:t>‹#›</a:t>
            </a:fld>
            <a:endParaRPr lang="en-US" sz="70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297985" y="6623050"/>
            <a:ext cx="3274646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363" eaLnBrk="0" hangingPunct="0">
              <a:lnSpc>
                <a:spcPct val="90000"/>
              </a:lnSpc>
              <a:spcBef>
                <a:spcPct val="10000"/>
              </a:spcBef>
            </a:pPr>
            <a:r>
              <a:rPr lang="en-US" sz="700" dirty="0">
                <a:solidFill>
                  <a:schemeClr val="tx2"/>
                </a:solidFill>
                <a:cs typeface="Helvetica Light" charset="0"/>
              </a:rPr>
              <a:t>Copyright © Capgemini 2023. All Rights Reserved</a:t>
            </a:r>
          </a:p>
        </p:txBody>
      </p: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1" name="Picture 2" descr="Capgemini logo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562970" y="205017"/>
            <a:ext cx="2368062" cy="5715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11252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38E43-9065-7BD9-3D19-71D042305C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92D522-643E-BA1C-231E-BB7AB297D8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772024-BD59-7BBB-45D9-099050DE8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CDE50E-88B5-DB07-CC8F-FA5DE4A2E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09729-7F74-57F4-FE14-D29C585B7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8657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24971-B33F-371A-6A92-BEFEF2341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4D6B9E-9CD9-5063-A4A3-977847BE6A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9E77B1-9400-5A3F-19AC-A9433980A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04630-FF3A-714C-DC69-4D4772972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405FFE-3B8F-4176-2D91-AC6DE4BC5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29621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24D13-3142-6128-88D4-8E8C9ABAA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0672DA-4B0C-6753-7521-15AA341E51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244756-0678-5EAB-E78B-E031B4A9AA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42E138-2536-CBAC-5E8F-706E57874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EF555B-1279-D22E-1240-C7E6AFF38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8561B6-734B-0F6F-D25A-733DD2AB2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2444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EB515-AC2A-E4FD-2530-523E10C12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B5D92-7D77-19F7-1014-54DE404205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80C3BE-41E0-EAA2-E4DE-23B80719E4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F6264C-24C0-BEEF-4741-C49AEDA72E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1182DD-C601-CB37-A8F0-323015798A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B65B7B-67A3-C25C-B1B4-21C99E9D0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F1BA61-3DBF-5E80-A246-DF556801E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6942AA-9369-C901-3162-460043721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5150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8A68E-00A8-A7C5-6A93-D04E7DC92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6EF8FD-5416-D0D1-BECB-33944DDA0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40435E-9F9D-BB22-900A-8359083DD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A65CE3-F66A-236B-1933-DDA3921D4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293027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AB2BC5-AF73-6C2C-9568-5B796AEF2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F1EE22-88AD-B1C5-32ED-6254E6A76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2DE536-6CD3-987C-ED15-9687A9973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33406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4B59B-DF24-F150-60D7-C420A0A4C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462E7E-AEB2-FCAD-9B23-EA270D02C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59E3C9-4FD6-B55F-BE9A-A1157249C8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6AF108-DB79-DDAD-B09D-C304098892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F5CD8-E264-DF89-6389-DFFCE52E1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70D037-A91F-6246-9090-4364B2550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97583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62F57-DBF4-1DBE-24E3-33B3601FA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8D1464-B116-CDEB-2AA7-7F1C38E0A5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21008-4FBF-1BDA-3D1F-EA68BA7180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7CDA82-7646-55D8-F3F5-EB015936D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B10634-13BF-C5A1-F1F8-93CD9A1EA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E54DB-34A7-550B-4A4E-986BBB2AE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7411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A219AF-02B4-E61B-E309-FBCBE8506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AF929C-3413-7C76-058E-E3BD960364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7536A3-F78F-4B0D-28ED-BF34730564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57EE1-5FA9-4EC7-A6EB-886958B53F70}" type="datetimeFigureOut">
              <a:rPr lang="en-IN" smtClean="0"/>
              <a:t>16-04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8D21A-A65D-7BED-AAD9-B29B078D2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B0AB8B-E044-FD02-3E7E-94351524F8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EC4D0-EAA2-4994-A969-77EDFC9DAFB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2921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0E59CCF-0537-4218-94CF-36EBC446535E}"/>
              </a:ext>
            </a:extLst>
          </p:cNvPr>
          <p:cNvSpPr txBox="1">
            <a:spLocks/>
          </p:cNvSpPr>
          <p:nvPr/>
        </p:nvSpPr>
        <p:spPr>
          <a:xfrm>
            <a:off x="1386840" y="1001712"/>
            <a:ext cx="9418320" cy="5577210"/>
          </a:xfrm>
          <a:prstGeom prst="roundRect">
            <a:avLst>
              <a:gd name="adj" fmla="val 4183"/>
            </a:avLst>
          </a:prstGeom>
          <a:noFill/>
          <a:ln w="7620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57756">
              <a:defRPr/>
            </a:pPr>
            <a:endParaRPr lang="en-GB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1386840" y="14907"/>
            <a:ext cx="10515600" cy="1325563"/>
          </a:xfrm>
        </p:spPr>
        <p:txBody>
          <a:bodyPr/>
          <a:lstStyle/>
          <a:p>
            <a:r>
              <a:rPr lang="en-GB" sz="3000" b="1" dirty="0">
                <a:latin typeface="Ubantu"/>
                <a:ea typeface="Verdana" panose="020B0604030504040204" pitchFamily="34" charset="0"/>
                <a:cs typeface="Segoe UI" panose="020B0502040204020203" pitchFamily="34" charset="0"/>
              </a:rPr>
              <a:t>Ashwin| C1 – Senior Consultant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487741" y="1072737"/>
            <a:ext cx="4046537" cy="1152000"/>
          </a:xfrm>
          <a:prstGeom prst="round2Diag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/>
        </p:spPr>
        <p:txBody>
          <a:bodyPr lIns="33588" tIns="33059" rIns="33588" bIns="33059" anchor="ctr"/>
          <a:lstStyle/>
          <a:p>
            <a:pPr indent="1255713" defTabSz="957756">
              <a:defRPr/>
            </a:pPr>
            <a:r>
              <a:rPr lang="en-GB" sz="2000" b="1" dirty="0">
                <a:solidFill>
                  <a:schemeClr val="bg1"/>
                </a:solidFill>
                <a:latin typeface="Ubantu"/>
                <a:cs typeface="Segoe UI" panose="020B0502040204020203" pitchFamily="34" charset="0"/>
              </a:rPr>
              <a:t>Ashwin</a:t>
            </a:r>
          </a:p>
          <a:p>
            <a:pPr indent="1255713" defTabSz="957756">
              <a:defRPr/>
            </a:pPr>
            <a:r>
              <a:rPr lang="en-GB" b="1" dirty="0">
                <a:solidFill>
                  <a:schemeClr val="bg1"/>
                </a:solidFill>
                <a:latin typeface="Ubantu"/>
                <a:cs typeface="Segoe UI" panose="020B0502040204020203" pitchFamily="34" charset="0"/>
              </a:rPr>
              <a:t>Senior Consultant</a:t>
            </a:r>
          </a:p>
        </p:txBody>
      </p:sp>
      <p:sp>
        <p:nvSpPr>
          <p:cNvPr id="6" name="Rectangle 5"/>
          <p:cNvSpPr/>
          <p:nvPr/>
        </p:nvSpPr>
        <p:spPr>
          <a:xfrm>
            <a:off x="1530350" y="2174668"/>
            <a:ext cx="3983672" cy="252221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/>
          <a:lstStyle/>
          <a:p>
            <a:pPr defTabSz="957756"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Ubuntu" panose="020B0504030602030204" pitchFamily="34" charset="0"/>
                <a:cs typeface="Segoe UI" pitchFamily="34" charset="0"/>
              </a:rPr>
              <a:t>Personal Statement</a:t>
            </a:r>
          </a:p>
          <a:p>
            <a:pPr defTabSz="957756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Enthusiastic data Scientist having  prior Experienced  in working on Generative AI, Python development &amp; Machine Learning project. Google cloud Professional  Machine Learning Engineer Certified.</a:t>
            </a:r>
            <a:r>
              <a:rPr lang="en-IN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 Proficient in advanced analytics, machine learning, and statistical techniques for deriving actionable insights. Bringing a solid history of creating and deploying secure AI solutions across various domains on cloud platforms. </a:t>
            </a:r>
            <a:endParaRPr lang="en-GB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defTabSz="957756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defTabSz="957756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en-GB" sz="1000" dirty="0">
              <a:solidFill>
                <a:sysClr val="windowText" lastClr="000000"/>
              </a:solidFill>
              <a:latin typeface="Ubuntu" panose="020B0504030602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57756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defRPr/>
            </a:pPr>
            <a:endParaRPr lang="en-GB" sz="1000" dirty="0">
              <a:solidFill>
                <a:srgbClr val="000000"/>
              </a:solidFill>
              <a:latin typeface="Ubuntu" panose="020B0504030602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20"/>
          <p:cNvSpPr txBox="1">
            <a:spLocks/>
          </p:cNvSpPr>
          <p:nvPr/>
        </p:nvSpPr>
        <p:spPr>
          <a:xfrm>
            <a:off x="5564710" y="1072737"/>
            <a:ext cx="5210018" cy="5878528"/>
          </a:xfrm>
          <a:prstGeom prst="rect">
            <a:avLst/>
          </a:prstGeom>
          <a:noFill/>
          <a:ln w="12700">
            <a:noFill/>
          </a:ln>
        </p:spPr>
        <p:txBody>
          <a:bodyPr rIns="0"/>
          <a:lstStyle>
            <a:lvl1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GB" sz="1400" b="1" dirty="0">
                <a:solidFill>
                  <a:schemeClr val="accent5">
                    <a:lumMod val="75000"/>
                  </a:schemeClr>
                </a:solidFill>
                <a:latin typeface="Ubantu"/>
                <a:ea typeface="Segoe UI" panose="020B0502040204020203" pitchFamily="34" charset="0"/>
                <a:cs typeface="Segoe UI" panose="020B0502040204020203" pitchFamily="34" charset="0"/>
              </a:rPr>
              <a:t>Professional Experience Highlights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Fluke Tech Support –Generative AI/ Azure :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Led the creation of a customer-centric chatbot to optimize technical support interactions.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Arial" panose="020B0604020202020204" pitchFamily="34" charset="0"/>
              <a:buChar char="•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Efficiently extracted valuable data from various online sources using Selenium.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Arial" panose="020B0604020202020204" pitchFamily="34" charset="0"/>
              <a:buChar char="•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Enhanced and executed workflows on Logic Apps, contributing to streamlined business processes.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Arial" panose="020B0604020202020204" pitchFamily="34" charset="0"/>
              <a:buChar char="•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Ensured smooth and error-free application and system deployments, showcasing deployment expertise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Fluke Document Translator </a:t>
            </a:r>
            <a:r>
              <a:rPr lang="en-IN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–Azure Open AI / Azure </a:t>
            </a: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: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Worked in the development of a Python web application that harnessed the capabilities of Azure-Open AI to translate user-uploaded documents into the desired language. 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The application was constructed using Python, including Flask and Streamlit, and was hosted on Azure Web App. 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It offered a user-friendly and seamless interaction experience for customers through  the use of Python's Streamlit library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lang="en-GB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</a:pP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Fluke VOC –Summarization </a:t>
            </a:r>
            <a:r>
              <a:rPr lang="en-IN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– Azure Open AI – GPT 4 / Databricks</a:t>
            </a: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: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Utilized the capabilities of the GPT-4 model to extract transcripts  from customer knowledge videos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Employed Databricks to collect raw data files and injected into Azure storage account to store and process the transcripts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Carried out smooth conversions, data generation, and extensive test cases.</a:t>
            </a:r>
          </a:p>
          <a:p>
            <a:pPr marL="0" lvl="2" indent="0">
              <a:lnSpc>
                <a:spcPts val="1300"/>
              </a:lnSpc>
              <a:buClr>
                <a:srgbClr val="005B7C"/>
              </a:buClr>
              <a:buSzPct val="120000"/>
              <a:defRPr/>
            </a:pPr>
            <a:endParaRPr lang="en-IN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IN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Demand Supply Solutions – Generative AI / GCP</a:t>
            </a:r>
            <a:r>
              <a:rPr lang="en-GB" sz="1200" b="1" dirty="0">
                <a:solidFill>
                  <a:sysClr val="windowText" lastClr="000000"/>
                </a:solidFill>
                <a:latin typeface="Ubantu"/>
                <a:cs typeface="Segoe UI" panose="020B0502040204020203" pitchFamily="34" charset="0"/>
              </a:rPr>
              <a:t>: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Arial" panose="020B0604020202020204" pitchFamily="34" charset="0"/>
              <a:buChar char="•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Designed a proof of concept (POC) for a cutting-edge job description matching system, incorporating Google's Gen AI text summarization methods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Constructed resilient Python APIs using Flask and React.js to facilitate seamless platform interaction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Leveraged Google's text-bison@001 for extracting crucial details from resumes.</a:t>
            </a:r>
          </a:p>
          <a:p>
            <a:pPr marL="171450" lvl="2" indent="-171450">
              <a:lnSpc>
                <a:spcPts val="1300"/>
              </a:lnSpc>
              <a:buClr>
                <a:srgbClr val="005B7C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IN" sz="9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Integrated a Neo4j graph database with the use of Cypher queries to enhance efficient data interaction.</a:t>
            </a:r>
            <a:endParaRPr lang="en-AU" sz="9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  <a:p>
            <a:pPr marL="171450" indent="-171450" algn="just" fontAlgn="base">
              <a:buFont typeface="Arial" panose="020B0604020202020204" pitchFamily="34" charset="0"/>
              <a:buChar char="•"/>
              <a:defRPr/>
            </a:pPr>
            <a:endParaRPr lang="en-GB" sz="1000" dirty="0">
              <a:solidFill>
                <a:sysClr val="windowText" lastClr="000000"/>
              </a:solidFill>
              <a:latin typeface="Ubuntu" panose="020B050403060203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 Placeholder 20"/>
          <p:cNvSpPr txBox="1">
            <a:spLocks/>
          </p:cNvSpPr>
          <p:nvPr/>
        </p:nvSpPr>
        <p:spPr>
          <a:xfrm>
            <a:off x="1546649" y="5446208"/>
            <a:ext cx="3760727" cy="1481619"/>
          </a:xfrm>
          <a:prstGeom prst="rect">
            <a:avLst/>
          </a:prstGeom>
          <a:noFill/>
          <a:ln w="12700">
            <a:noFill/>
          </a:ln>
        </p:spPr>
        <p:txBody>
          <a:bodyPr rIns="0"/>
          <a:lstStyle>
            <a:lvl1pPr marL="0" indent="0">
              <a:lnSpc>
                <a:spcPts val="1500"/>
              </a:lnSpc>
              <a:spcBef>
                <a:spcPts val="200"/>
              </a:spcBef>
              <a:spcAft>
                <a:spcPts val="200"/>
              </a:spcAft>
              <a:buNone/>
              <a:defRPr sz="1400" b="1">
                <a:solidFill>
                  <a:schemeClr val="accent2"/>
                </a:solidFill>
              </a:defRPr>
            </a:lvl1pPr>
            <a:lvl2pPr marL="363538" indent="-188913">
              <a:lnSpc>
                <a:spcPts val="13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 sz="1200"/>
            </a:lvl2pPr>
            <a:lvl3pPr>
              <a:spcBef>
                <a:spcPts val="200"/>
              </a:spcBef>
              <a:spcAft>
                <a:spcPts val="200"/>
              </a:spcAft>
              <a:defRPr/>
            </a:lvl3pPr>
            <a:lvl4pPr>
              <a:spcBef>
                <a:spcPts val="200"/>
              </a:spcBef>
              <a:spcAft>
                <a:spcPts val="200"/>
              </a:spcAft>
              <a:defRPr/>
            </a:lvl4pPr>
            <a:lvl5pPr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defTabSz="957756">
              <a:lnSpc>
                <a:spcPct val="100000"/>
              </a:lnSpc>
              <a:defRPr/>
            </a:pPr>
            <a:r>
              <a:rPr lang="en-GB" sz="1100" dirty="0">
                <a:solidFill>
                  <a:schemeClr val="accent5">
                    <a:lumMod val="75000"/>
                  </a:schemeClr>
                </a:solidFill>
                <a:latin typeface="Ubuntu" panose="020B0504030602030204" pitchFamily="34" charset="0"/>
                <a:cs typeface="Segoe UI" pitchFamily="34" charset="0"/>
              </a:rPr>
              <a:t>Professional Qualifications and Certifications</a:t>
            </a:r>
          </a:p>
          <a:p>
            <a:pPr marL="171450" lvl="1" indent="-171450">
              <a:lnSpc>
                <a:spcPts val="1200"/>
              </a:lnSpc>
              <a:buClr>
                <a:schemeClr val="accent5">
                  <a:lumMod val="75000"/>
                </a:schemeClr>
              </a:buClr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Post Graduated in Data Science and Engineering</a:t>
            </a:r>
          </a:p>
          <a:p>
            <a:pPr marL="171450" lvl="1" indent="-171450">
              <a:lnSpc>
                <a:spcPts val="1200"/>
              </a:lnSpc>
              <a:buClr>
                <a:schemeClr val="accent5">
                  <a:lumMod val="75000"/>
                </a:schemeClr>
              </a:buClr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Certified Google Professional Machine Learning Engineer</a:t>
            </a:r>
          </a:p>
          <a:p>
            <a:pPr marL="171450" lvl="1" indent="-171450">
              <a:lnSpc>
                <a:spcPts val="1200"/>
              </a:lnSpc>
              <a:buClr>
                <a:schemeClr val="accent5">
                  <a:lumMod val="75000"/>
                </a:schemeClr>
              </a:buClr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Generative AI fundamental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589982" y="3590279"/>
            <a:ext cx="4191000" cy="2266009"/>
          </a:xfrm>
          <a:prstGeom prst="rect">
            <a:avLst/>
          </a:prstGeom>
        </p:spPr>
        <p:txBody>
          <a:bodyPr wrap="square" lIns="36000" rIns="36000">
            <a:noAutofit/>
          </a:bodyPr>
          <a:lstStyle/>
          <a:p>
            <a:pPr marL="188913" lvl="1" indent="-188913" defTabSz="957756">
              <a:spcBef>
                <a:spcPts val="200"/>
              </a:spcBef>
              <a:spcAft>
                <a:spcPts val="200"/>
              </a:spcAft>
              <a:buClr>
                <a:srgbClr val="B69676"/>
              </a:buClr>
              <a:buSzPct val="120000"/>
              <a:defRPr/>
            </a:pP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Ubuntu" panose="020B0504030602030204" pitchFamily="34" charset="0"/>
                <a:cs typeface="Segoe UI" pitchFamily="34" charset="0"/>
              </a:rPr>
              <a:t>Expertise and Competencies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GCP Services – Gemini, Vertex AI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fr-FR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Azure Services – GPT 3.5, Cognitive search, Logic Apps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Databricks, Data Lakes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Python Development- Flask, Streamlit, Rest API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en-GB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Generative AI, LLM, Machine Learning , Deep Learning 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fr-FR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DB- (BigQuery,  MySQL, Neo4j, Cosmos DB )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fr-FR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Data Visualisation ( Power BI, Looker Studio)</a:t>
            </a:r>
          </a:p>
          <a:p>
            <a:pPr marL="171450" lvl="1" indent="-171450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buClr>
                <a:schemeClr val="accent5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985838" algn="l"/>
                <a:tab pos="1971675" algn="l"/>
                <a:tab pos="2957513" algn="l"/>
                <a:tab pos="3856038" algn="l"/>
                <a:tab pos="4572000" algn="l"/>
              </a:tabLst>
              <a:defRPr/>
            </a:pPr>
            <a:r>
              <a:rPr lang="fr-FR" sz="1000" dirty="0">
                <a:solidFill>
                  <a:sysClr val="windowText" lastClr="000000"/>
                </a:solidFill>
                <a:latin typeface="Ubuntu" panose="020B0504030602030204" pitchFamily="34" charset="0"/>
                <a:cs typeface="Segoe UI" panose="020B0502040204020203" pitchFamily="34" charset="0"/>
              </a:rPr>
              <a:t>Project management , Team Handling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CE56DA6-3951-41E5-975D-743D10F6C995}"/>
              </a:ext>
            </a:extLst>
          </p:cNvPr>
          <p:cNvSpPr>
            <a:spLocks noChangeAspect="1"/>
          </p:cNvSpPr>
          <p:nvPr/>
        </p:nvSpPr>
        <p:spPr>
          <a:xfrm>
            <a:off x="1797310" y="1072737"/>
            <a:ext cx="936000" cy="115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9" name="Picture 8" descr="A person wearing glasses and a blue and white checkered shirt&#10;&#10;Description automatically generated">
            <a:extLst>
              <a:ext uri="{FF2B5EF4-FFF2-40B4-BE49-F238E27FC236}">
                <a16:creationId xmlns:a16="http://schemas.microsoft.com/office/drawing/2014/main" id="{81285EF8-BA9A-062A-C48A-88C9ED3842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310" y="1029408"/>
            <a:ext cx="936000" cy="119532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a200386-1031-455b-b1f5-04dc579f33a4">
      <Terms xmlns="http://schemas.microsoft.com/office/infopath/2007/PartnerControls"/>
    </lcf76f155ced4ddcb4097134ff3c332f>
    <TaxCatchAll xmlns="234c2358-abd1-4161-a3d1-7ad63c5b8204" xsi:nil="true"/>
    <SharedWithUsers xmlns="234c2358-abd1-4161-a3d1-7ad63c5b8204">
      <UserInfo>
        <DisplayName>Ur Rahman, Shaik Ateeq</DisplayName>
        <AccountId>9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00C010B0FFD64798794FAB7B59E37E" ma:contentTypeVersion="13" ma:contentTypeDescription="Create a new document." ma:contentTypeScope="" ma:versionID="e002982e44c3a24521d761679602e414">
  <xsd:schema xmlns:xsd="http://www.w3.org/2001/XMLSchema" xmlns:xs="http://www.w3.org/2001/XMLSchema" xmlns:p="http://schemas.microsoft.com/office/2006/metadata/properties" xmlns:ns2="8a200386-1031-455b-b1f5-04dc579f33a4" xmlns:ns3="234c2358-abd1-4161-a3d1-7ad63c5b8204" targetNamespace="http://schemas.microsoft.com/office/2006/metadata/properties" ma:root="true" ma:fieldsID="5ad42dabd681dd300746598d251ba7e0" ns2:_="" ns3:_="">
    <xsd:import namespace="8a200386-1031-455b-b1f5-04dc579f33a4"/>
    <xsd:import namespace="234c2358-abd1-4161-a3d1-7ad63c5b82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00386-1031-455b-b1f5-04dc579f33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4c2358-abd1-4161-a3d1-7ad63c5b820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3e343c04-0f9d-454d-a155-874b825f985a}" ma:internalName="TaxCatchAll" ma:showField="CatchAllData" ma:web="234c2358-abd1-4161-a3d1-7ad63c5b820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F2C6D8-9017-4A70-851E-D553EA7E3E99}">
  <ds:schemaRefs>
    <ds:schemaRef ds:uri="http://schemas.microsoft.com/office/2006/metadata/properties"/>
    <ds:schemaRef ds:uri="http://schemas.microsoft.com/office/infopath/2007/PartnerControls"/>
    <ds:schemaRef ds:uri="8a200386-1031-455b-b1f5-04dc579f33a4"/>
    <ds:schemaRef ds:uri="234c2358-abd1-4161-a3d1-7ad63c5b8204"/>
  </ds:schemaRefs>
</ds:datastoreItem>
</file>

<file path=customXml/itemProps2.xml><?xml version="1.0" encoding="utf-8"?>
<ds:datastoreItem xmlns:ds="http://schemas.openxmlformats.org/officeDocument/2006/customXml" ds:itemID="{B83A4591-928C-4A55-B6B2-5F25EB901A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200386-1031-455b-b1f5-04dc579f33a4"/>
    <ds:schemaRef ds:uri="234c2358-abd1-4161-a3d1-7ad63c5b82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76E3A35-94D4-424F-AA53-31298F74186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7</TotalTime>
  <Words>436</Words>
  <Application>Microsoft Office PowerPoint</Application>
  <PresentationFormat>Widescreen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Segoe UI</vt:lpstr>
      <vt:lpstr>Ubantu</vt:lpstr>
      <vt:lpstr>Ubuntu</vt:lpstr>
      <vt:lpstr>Wingdings</vt:lpstr>
      <vt:lpstr>Office Theme</vt:lpstr>
      <vt:lpstr>think-cell Slide</vt:lpstr>
      <vt:lpstr>Ashwin| C1 – Senior Consulta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esh Sonawane| B1 – Data Scientist </dc:title>
  <dc:creator>Sonawane, Adesh</dc:creator>
  <cp:lastModifiedBy>C, ASHWIN</cp:lastModifiedBy>
  <cp:revision>5</cp:revision>
  <dcterms:created xsi:type="dcterms:W3CDTF">2023-08-10T13:50:30Z</dcterms:created>
  <dcterms:modified xsi:type="dcterms:W3CDTF">2024-04-16T14:5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00C010B0FFD64798794FAB7B59E37E</vt:lpwstr>
  </property>
</Properties>
</file>